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523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C7C0A7-2161-395E-2641-D96FDA10E9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090D8EC-490E-5A89-3730-5E54545068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828659D-7229-E703-BE06-E2FA59D1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01FAB81-E20F-460E-7957-C947BDE07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0B9D026-4A90-8044-DD80-6E19DC93A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7185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D628ED-2569-AACE-E017-FBBF8D174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778B9AD-0544-D427-234A-8EE87A7CC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3B6A5F5-B5DF-5E67-7C2C-49DD57674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96E97F3-6221-CDE4-1EB5-4C8E57C50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FE231E4-CF52-39F1-3562-D1B58B6A0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91360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00549E5-FDAD-3468-CACE-D799D6D489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ACF2B2F-6359-7164-0010-EB09FFEB7C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E22E02B-43A6-656D-5C31-5D16A0E34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12C82FB-717C-85D3-0BEF-877209DEE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328A831-7B7A-9FC6-A7C4-EF5631179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7515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940E57-587A-C790-9C19-A618CC4DE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946C378-2270-0E97-48AC-6D9A198A52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BCE64A-44C6-E570-7F40-194FBAF32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7574457-EEDA-E75A-E40C-B6A551370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4D50CD3-C5ED-7697-1B11-6A2AFE701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0086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136744-3BE3-B11B-ED1E-EA0C2E7E8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A46861-91A2-DD5E-8C12-ECD20CA09E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BBDAD77-4518-16D0-2DFB-3E0231481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10F83B-C3BA-069F-967E-6E18A1718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9E5D12-6BC1-E15D-E7F8-10089EA79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850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79CF33-C7A9-8D5A-7994-D167C5F95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4D83F8A-2FFF-ACDF-10C4-14E6BA5145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671491C-8CB5-3FE0-8024-0AD535DEE6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9749B70-F637-5945-8352-C9E44AC0F7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0E62399-9957-785B-5F95-698555B60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C477C68-37BE-9FF0-5E80-3C7F3A493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860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BB157E-D55A-835E-65DC-FD4FE72B0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7F979B4-3611-2647-75F5-84187701CD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CD1D8D6-9FEA-2D68-D5D2-9AD49AE3AB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1288107-4232-5965-F220-3057922A45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A08D3B94-8D6F-C2A2-BF7B-B3796A8A9E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B082AE26-0331-C1AA-DE64-A51CAF6CA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D59B6C8-D898-0F7E-5291-6625146A1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734EF043-02F4-34D4-40A5-1839EF3ED8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3417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090E37-048A-2558-C546-8F9FC6F2C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C695A33-83A2-C542-562C-93CBC44971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90C476-830D-EC25-5A39-5DA180315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158F2C2-8B29-EB57-3624-1C1FAEA05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329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E2396BD-1847-64D9-0852-1739BF13D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9A0328-0A0D-9EF4-856C-CE05D4AE3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DD5CD9-445A-2DE0-37CB-20C2DC200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3499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AAAF59-A718-287D-8643-0F308011C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70C2272-C395-9DC4-0C2A-36C83FF89C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6DF2EE1-DBEA-1FEB-840C-4395860C69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0B0CB36-EA07-C8BC-0DEC-D0918EF77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9DA464C-D4C7-FF83-2887-A403E3A43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BACAB62-A1ED-271C-FD28-1D20C61A0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73501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2A8C31-235A-6E82-7D86-EBA27C96B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355CDE0-A260-75A8-28E9-76DF431AA7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6F667DB-A5AE-1F3A-01A4-DE90CCCD75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4D925BF-B27F-6E90-FA0E-341904090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C9498EF-6C23-293F-E08A-729C625AA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CF161EE-F14D-ADFC-FDBD-63A17C974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6268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3AB12DE1-E617-7210-AED3-3DB00DD96E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008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353" imgH="353" progId="TCLayout.ActiveDocument.1">
                  <p:embed/>
                </p:oleObj>
              </mc:Choice>
              <mc:Fallback>
                <p:oleObj name="think-cell 幻灯片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9BD6C0D-CF4F-BE2F-03BF-385E0916C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9D3136A-F6C2-6180-60B6-BEA7A8C0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08017FE-7EEB-34F4-DDCA-5EA79BBEFE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8C392B-B9B7-420E-9D14-8AA1CE4DEEFA}" type="datetimeFigureOut">
              <a:rPr lang="zh-CN" altLang="en-US" smtClean="0"/>
              <a:t>2022/12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0FF9E72-EED0-4B07-46D1-5CC54F5D35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4DC8248-B5F8-795D-3D60-894E8BA0F9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5656DA-80F7-4991-B58F-03594D9D51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6404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BA589FB-DBDC-E086-3286-6641A7C3AF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087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531B188F-BB2B-647E-8779-4F4971D8B8C7}"/>
              </a:ext>
            </a:extLst>
          </p:cNvPr>
          <p:cNvSpPr/>
          <p:nvPr/>
        </p:nvSpPr>
        <p:spPr>
          <a:xfrm>
            <a:off x="826347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E63F0CC-9E85-A84F-8205-01BE8150E725}"/>
              </a:ext>
            </a:extLst>
          </p:cNvPr>
          <p:cNvSpPr/>
          <p:nvPr/>
        </p:nvSpPr>
        <p:spPr>
          <a:xfrm>
            <a:off x="2757097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llmodu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55065F-B338-0378-54BB-CA466F517FEF}"/>
              </a:ext>
            </a:extLst>
          </p:cNvPr>
          <p:cNvSpPr/>
          <p:nvPr/>
        </p:nvSpPr>
        <p:spPr>
          <a:xfrm>
            <a:off x="4875983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4C0D5F1-4151-289E-BE1A-97D60FCFE388}"/>
              </a:ext>
            </a:extLst>
          </p:cNvPr>
          <p:cNvSpPr/>
          <p:nvPr/>
        </p:nvSpPr>
        <p:spPr>
          <a:xfrm>
            <a:off x="7089462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llmodule</a:t>
            </a:r>
            <a:endParaRPr lang="zh-CN" altLang="en-US" dirty="0"/>
          </a:p>
          <a:p>
            <a:pPr algn="ctr"/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2463BE9-CF30-98D7-1A10-C482DD4577B0}"/>
              </a:ext>
            </a:extLst>
          </p:cNvPr>
          <p:cNvSpPr/>
          <p:nvPr/>
        </p:nvSpPr>
        <p:spPr>
          <a:xfrm>
            <a:off x="9208348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50C06BCD-F8AA-64C9-EF5E-03D0AC6E4379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1693333" y="2831253"/>
            <a:ext cx="10637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AD28A837-6B78-8FB1-E83E-646325E34E02}"/>
              </a:ext>
            </a:extLst>
          </p:cNvPr>
          <p:cNvCxnSpPr>
            <a:stCxn id="6" idx="3"/>
            <a:endCxn id="7" idx="1"/>
          </p:cNvCxnSpPr>
          <p:nvPr/>
        </p:nvCxnSpPr>
        <p:spPr>
          <a:xfrm>
            <a:off x="3624083" y="2831253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EA369ED3-5E25-8C0A-7551-E96201DCEB9E}"/>
              </a:ext>
            </a:extLst>
          </p:cNvPr>
          <p:cNvCxnSpPr/>
          <p:nvPr/>
        </p:nvCxnSpPr>
        <p:spPr>
          <a:xfrm>
            <a:off x="5742969" y="2831253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FCDAAF74-3BF4-01D3-CD30-0657495AF077}"/>
              </a:ext>
            </a:extLst>
          </p:cNvPr>
          <p:cNvCxnSpPr/>
          <p:nvPr/>
        </p:nvCxnSpPr>
        <p:spPr>
          <a:xfrm>
            <a:off x="7956448" y="2831253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>
            <a:extLst>
              <a:ext uri="{FF2B5EF4-FFF2-40B4-BE49-F238E27FC236}">
                <a16:creationId xmlns:a16="http://schemas.microsoft.com/office/drawing/2014/main" id="{AA741E6A-3549-693B-0100-C42E132C45F5}"/>
              </a:ext>
            </a:extLst>
          </p:cNvPr>
          <p:cNvSpPr/>
          <p:nvPr/>
        </p:nvSpPr>
        <p:spPr>
          <a:xfrm>
            <a:off x="4888595" y="3090508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07EBA69-2724-30AD-455C-C5CE2976089A}"/>
              </a:ext>
            </a:extLst>
          </p:cNvPr>
          <p:cNvSpPr/>
          <p:nvPr/>
        </p:nvSpPr>
        <p:spPr>
          <a:xfrm>
            <a:off x="826347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2539122-8906-E41F-6C2B-FD7C29025503}"/>
              </a:ext>
            </a:extLst>
          </p:cNvPr>
          <p:cNvSpPr/>
          <p:nvPr/>
        </p:nvSpPr>
        <p:spPr>
          <a:xfrm>
            <a:off x="2757097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llmodule</a:t>
            </a:r>
            <a:endParaRPr lang="zh-CN" altLang="en-US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7EB4C47-19B2-D165-B828-9AFBBFDAAF64}"/>
              </a:ext>
            </a:extLst>
          </p:cNvPr>
          <p:cNvSpPr/>
          <p:nvPr/>
        </p:nvSpPr>
        <p:spPr>
          <a:xfrm>
            <a:off x="4875983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80C7BC2-7828-66FC-0A1B-BD1C8D9B3435}"/>
              </a:ext>
            </a:extLst>
          </p:cNvPr>
          <p:cNvSpPr/>
          <p:nvPr/>
        </p:nvSpPr>
        <p:spPr>
          <a:xfrm>
            <a:off x="7089462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llmodule</a:t>
            </a:r>
            <a:endParaRPr lang="zh-CN" altLang="en-US" dirty="0"/>
          </a:p>
          <a:p>
            <a:pPr algn="ctr"/>
            <a:endParaRPr lang="zh-CN" altLang="en-US" dirty="0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18DF5493-5B4C-40F9-941A-C11B56652792}"/>
              </a:ext>
            </a:extLst>
          </p:cNvPr>
          <p:cNvSpPr/>
          <p:nvPr/>
        </p:nvSpPr>
        <p:spPr>
          <a:xfrm>
            <a:off x="9208348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DD111AB4-24B3-2BC1-933F-70F8D891EAA7}"/>
              </a:ext>
            </a:extLst>
          </p:cNvPr>
          <p:cNvCxnSpPr>
            <a:stCxn id="27" idx="3"/>
            <a:endCxn id="28" idx="1"/>
          </p:cNvCxnSpPr>
          <p:nvPr/>
        </p:nvCxnSpPr>
        <p:spPr>
          <a:xfrm>
            <a:off x="1693333" y="4780922"/>
            <a:ext cx="10637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7A45C0E8-AA95-F1B6-E56D-DBA1F258B960}"/>
              </a:ext>
            </a:extLst>
          </p:cNvPr>
          <p:cNvCxnSpPr>
            <a:stCxn id="28" idx="3"/>
            <a:endCxn id="29" idx="1"/>
          </p:cNvCxnSpPr>
          <p:nvPr/>
        </p:nvCxnSpPr>
        <p:spPr>
          <a:xfrm>
            <a:off x="3624083" y="4780922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>
            <a:extLst>
              <a:ext uri="{FF2B5EF4-FFF2-40B4-BE49-F238E27FC236}">
                <a16:creationId xmlns:a16="http://schemas.microsoft.com/office/drawing/2014/main" id="{48F90ED9-C85D-3622-F1BC-1A22DE781A29}"/>
              </a:ext>
            </a:extLst>
          </p:cNvPr>
          <p:cNvCxnSpPr/>
          <p:nvPr/>
        </p:nvCxnSpPr>
        <p:spPr>
          <a:xfrm>
            <a:off x="5742969" y="4780922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7D268846-7727-E759-89E0-B2285A005DEF}"/>
              </a:ext>
            </a:extLst>
          </p:cNvPr>
          <p:cNvCxnSpPr/>
          <p:nvPr/>
        </p:nvCxnSpPr>
        <p:spPr>
          <a:xfrm>
            <a:off x="7956448" y="4780922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>
            <a:extLst>
              <a:ext uri="{FF2B5EF4-FFF2-40B4-BE49-F238E27FC236}">
                <a16:creationId xmlns:a16="http://schemas.microsoft.com/office/drawing/2014/main" id="{6054FDD8-4D2C-6B03-0976-41A30B811770}"/>
              </a:ext>
            </a:extLst>
          </p:cNvPr>
          <p:cNvSpPr/>
          <p:nvPr/>
        </p:nvSpPr>
        <p:spPr>
          <a:xfrm>
            <a:off x="826347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A0D0C0A1-099D-7903-CC87-A34613129131}"/>
              </a:ext>
            </a:extLst>
          </p:cNvPr>
          <p:cNvSpPr/>
          <p:nvPr/>
        </p:nvSpPr>
        <p:spPr>
          <a:xfrm>
            <a:off x="2781272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7309EACA-3410-E846-55E4-7B6BC1F022D5}"/>
              </a:ext>
            </a:extLst>
          </p:cNvPr>
          <p:cNvSpPr/>
          <p:nvPr/>
        </p:nvSpPr>
        <p:spPr>
          <a:xfrm>
            <a:off x="4888595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E42FD031-D29B-8BE0-FB79-53B99868C5E5}"/>
              </a:ext>
            </a:extLst>
          </p:cNvPr>
          <p:cNvSpPr/>
          <p:nvPr/>
        </p:nvSpPr>
        <p:spPr>
          <a:xfrm>
            <a:off x="7139446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729CC1B5-F4D9-3DC4-5A21-DCC6435A1B71}"/>
              </a:ext>
            </a:extLst>
          </p:cNvPr>
          <p:cNvSpPr/>
          <p:nvPr/>
        </p:nvSpPr>
        <p:spPr>
          <a:xfrm>
            <a:off x="9246767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056317D0-8BC8-4E4A-E819-F2C06EB7AD5F}"/>
              </a:ext>
            </a:extLst>
          </p:cNvPr>
          <p:cNvSpPr txBox="1"/>
          <p:nvPr/>
        </p:nvSpPr>
        <p:spPr>
          <a:xfrm>
            <a:off x="3998135" y="258554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92ACE9A8-708C-FFDE-1CD0-BD9EC5F167FA}"/>
              </a:ext>
            </a:extLst>
          </p:cNvPr>
          <p:cNvSpPr txBox="1"/>
          <p:nvPr/>
        </p:nvSpPr>
        <p:spPr>
          <a:xfrm>
            <a:off x="3910461" y="443229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6D2DF1CC-0E1F-FC77-4602-E8E9B713E2EF}"/>
              </a:ext>
            </a:extLst>
          </p:cNvPr>
          <p:cNvSpPr txBox="1"/>
          <p:nvPr/>
        </p:nvSpPr>
        <p:spPr>
          <a:xfrm>
            <a:off x="6096436" y="258554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E74D397E-B599-2476-0CAD-543DD914C7B3}"/>
              </a:ext>
            </a:extLst>
          </p:cNvPr>
          <p:cNvSpPr txBox="1"/>
          <p:nvPr/>
        </p:nvSpPr>
        <p:spPr>
          <a:xfrm>
            <a:off x="6029347" y="4465612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F3C305A-392E-D108-11CF-175746EA0B6C}"/>
              </a:ext>
            </a:extLst>
          </p:cNvPr>
          <p:cNvSpPr txBox="1"/>
          <p:nvPr/>
        </p:nvSpPr>
        <p:spPr>
          <a:xfrm>
            <a:off x="1888881" y="2585545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173B2E3-C22A-5365-B6E2-8A3FA90B1C08}"/>
              </a:ext>
            </a:extLst>
          </p:cNvPr>
          <p:cNvSpPr txBox="1"/>
          <p:nvPr/>
        </p:nvSpPr>
        <p:spPr>
          <a:xfrm>
            <a:off x="1933023" y="446561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D0D164B9-899D-3535-228A-E1110F87916A}"/>
              </a:ext>
            </a:extLst>
          </p:cNvPr>
          <p:cNvSpPr txBox="1"/>
          <p:nvPr/>
        </p:nvSpPr>
        <p:spPr>
          <a:xfrm>
            <a:off x="8260835" y="2482626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8705A82-E27C-3336-2B34-9DA8E787E63F}"/>
              </a:ext>
            </a:extLst>
          </p:cNvPr>
          <p:cNvSpPr txBox="1"/>
          <p:nvPr/>
        </p:nvSpPr>
        <p:spPr>
          <a:xfrm>
            <a:off x="8180309" y="4434081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593EFC84-9AE7-A7E5-CC1A-1477C171D0AC}"/>
              </a:ext>
            </a:extLst>
          </p:cNvPr>
          <p:cNvSpPr/>
          <p:nvPr/>
        </p:nvSpPr>
        <p:spPr>
          <a:xfrm>
            <a:off x="6994869" y="291778"/>
            <a:ext cx="866986" cy="17852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70068464-9DE5-09FB-BC03-7F607984E042}"/>
              </a:ext>
            </a:extLst>
          </p:cNvPr>
          <p:cNvSpPr txBox="1"/>
          <p:nvPr/>
        </p:nvSpPr>
        <p:spPr>
          <a:xfrm>
            <a:off x="4970575" y="325086"/>
            <a:ext cx="196399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:</a:t>
            </a:r>
          </a:p>
          <a:p>
            <a:r>
              <a:rPr lang="en-US" altLang="zh-CN" dirty="0"/>
              <a:t>1.scheduling</a:t>
            </a:r>
          </a:p>
          <a:p>
            <a:r>
              <a:rPr lang="en-US" altLang="zh-CN" dirty="0"/>
              <a:t>2.Shared resource</a:t>
            </a:r>
          </a:p>
          <a:p>
            <a:r>
              <a:rPr lang="en-US" altLang="zh-CN" dirty="0"/>
              <a:t>3.Speicher</a:t>
            </a:r>
          </a:p>
          <a:p>
            <a:r>
              <a:rPr lang="en-US" altLang="zh-CN" dirty="0"/>
              <a:t>4.</a:t>
            </a:r>
          </a:p>
          <a:p>
            <a:endParaRPr lang="zh-CN" altLang="en-US" dirty="0"/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D3853F59-008A-6BA5-7BB2-58FE0859B576}"/>
              </a:ext>
            </a:extLst>
          </p:cNvPr>
          <p:cNvSpPr txBox="1"/>
          <p:nvPr/>
        </p:nvSpPr>
        <p:spPr>
          <a:xfrm>
            <a:off x="8219432" y="663402"/>
            <a:ext cx="22204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:</a:t>
            </a:r>
          </a:p>
          <a:p>
            <a:r>
              <a:rPr lang="en-US" altLang="zh-CN" dirty="0"/>
              <a:t>Parameter </a:t>
            </a:r>
            <a:r>
              <a:rPr lang="en-US" altLang="zh-CN" dirty="0" err="1"/>
              <a:t>im</a:t>
            </a:r>
            <a:r>
              <a:rPr lang="en-US" altLang="zh-CN" dirty="0"/>
              <a:t> </a:t>
            </a:r>
            <a:r>
              <a:rPr lang="en-US" altLang="zh-CN" dirty="0" err="1"/>
              <a:t>omne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049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</TotalTime>
  <Words>46</Words>
  <Application>Microsoft Office PowerPoint</Application>
  <PresentationFormat>宽屏</PresentationFormat>
  <Paragraphs>26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6" baseType="lpstr">
      <vt:lpstr>等线</vt:lpstr>
      <vt:lpstr>等线 Light</vt:lpstr>
      <vt:lpstr>Arial</vt:lpstr>
      <vt:lpstr>Office 主题​​</vt:lpstr>
      <vt:lpstr>think-cell 幻灯片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x li</dc:creator>
  <cp:lastModifiedBy>cx li</cp:lastModifiedBy>
  <cp:revision>1</cp:revision>
  <dcterms:created xsi:type="dcterms:W3CDTF">2022-12-12T13:13:30Z</dcterms:created>
  <dcterms:modified xsi:type="dcterms:W3CDTF">2022-12-12T15:45:20Z</dcterms:modified>
</cp:coreProperties>
</file>